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2.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tags/tag33.xml" ContentType="application/vnd.openxmlformats-officedocument.presentationml.tags+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tags/tag34.xml" ContentType="application/vnd.openxmlformats-officedocument.presentationml.tags+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tags/tag35.xml" ContentType="application/vnd.openxmlformats-officedocument.presentationml.tags+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tags/tag36.xml" ContentType="application/vnd.openxmlformats-officedocument.presentationml.tags+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tags/tag37.xml" ContentType="application/vnd.openxmlformats-officedocument.presentationml.tags+xml"/>
  <Override PartName="/ppt/charts/chart21.xml" ContentType="application/vnd.openxmlformats-officedocument.drawingml.chart+xml"/>
  <Override PartName="/ppt/tags/tag38.xml" ContentType="application/vnd.openxmlformats-officedocument.presentationml.tags+xml"/>
  <Override PartName="/ppt/charts/chart22.xml" ContentType="application/vnd.openxmlformats-officedocument.drawingml.chart+xml"/>
  <Override PartName="/ppt/tags/tag39.xml" ContentType="application/vnd.openxmlformats-officedocument.presentationml.tags+xml"/>
  <Override PartName="/ppt/charts/chart23.xml" ContentType="application/vnd.openxmlformats-officedocument.drawingml.chart+xml"/>
  <Override PartName="/ppt/tags/tag40.xml" ContentType="application/vnd.openxmlformats-officedocument.presentationml.tags+xml"/>
  <Override PartName="/ppt/charts/chart24.xml" ContentType="application/vnd.openxmlformats-officedocument.drawingml.chart+xml"/>
  <Override PartName="/ppt/tags/tag41.xml" ContentType="application/vnd.openxmlformats-officedocument.presentationml.tags+xml"/>
  <Override PartName="/ppt/charts/chart25.xml" ContentType="application/vnd.openxmlformats-officedocument.drawingml.chart+xml"/>
  <Override PartName="/ppt/tags/tag42.xml" ContentType="application/vnd.openxmlformats-officedocument.presentationml.tags+xml"/>
  <Override PartName="/ppt/charts/chart26.xml" ContentType="application/vnd.openxmlformats-officedocument.drawingml.chart+xml"/>
  <Override PartName="/ppt/tags/tag43.xml" ContentType="application/vnd.openxmlformats-officedocument.presentationml.tags+xml"/>
  <Override PartName="/ppt/charts/chart27.xml" ContentType="application/vnd.openxmlformats-officedocument.drawingml.chart+xml"/>
  <Override PartName="/ppt/tags/tag44.xml" ContentType="application/vnd.openxmlformats-officedocument.presentationml.tags+xml"/>
  <Override PartName="/ppt/charts/chart28.xml" ContentType="application/vnd.openxmlformats-officedocument.drawingml.chart+xml"/>
  <Override PartName="/ppt/tags/tag45.xml" ContentType="application/vnd.openxmlformats-officedocument.presentationml.tags+xml"/>
  <Override PartName="/ppt/charts/chart29.xml" ContentType="application/vnd.openxmlformats-officedocument.drawingml.chart+xml"/>
  <Override PartName="/ppt/tags/tag46.xml" ContentType="application/vnd.openxmlformats-officedocument.presentationml.tags+xml"/>
  <Override PartName="/ppt/charts/chart30.xml" ContentType="application/vnd.openxmlformats-officedocument.drawingml.chart+xml"/>
  <Override PartName="/ppt/tags/tag47.xml" ContentType="application/vnd.openxmlformats-officedocument.presentationml.tags+xml"/>
  <Override PartName="/ppt/charts/chart31.xml" ContentType="application/vnd.openxmlformats-officedocument.drawingml.chart+xml"/>
  <Override PartName="/ppt/tags/tag48.xml" ContentType="application/vnd.openxmlformats-officedocument.presentationml.tags+xml"/>
  <Override PartName="/ppt/charts/chart32.xml" ContentType="application/vnd.openxmlformats-officedocument.drawingml.chart+xml"/>
  <Override PartName="/ppt/tags/tag49.xml" ContentType="application/vnd.openxmlformats-officedocument.presentationml.tags+xml"/>
  <Override PartName="/ppt/charts/chart33.xml" ContentType="application/vnd.openxmlformats-officedocument.drawingml.chart+xml"/>
  <Override PartName="/ppt/tags/tag50.xml" ContentType="application/vnd.openxmlformats-officedocument.presentationml.tags+xml"/>
  <Override PartName="/ppt/charts/chart34.xml" ContentType="application/vnd.openxmlformats-officedocument.drawingml.chart+xml"/>
  <Override PartName="/ppt/tags/tag51.xml" ContentType="application/vnd.openxmlformats-officedocument.presentationml.tags+xml"/>
  <Override PartName="/ppt/charts/chart35.xml" ContentType="application/vnd.openxmlformats-officedocument.drawingml.chart+xml"/>
  <Override PartName="/ppt/tags/tag52.xml" ContentType="application/vnd.openxmlformats-officedocument.presentationml.tags+xml"/>
  <Override PartName="/ppt/charts/chart36.xml" ContentType="application/vnd.openxmlformats-officedocument.drawingml.chart+xml"/>
  <Override PartName="/ppt/tags/tag53.xml" ContentType="application/vnd.openxmlformats-officedocument.presentationml.tags+xml"/>
  <Override PartName="/ppt/charts/chart37.xml" ContentType="application/vnd.openxmlformats-officedocument.drawingml.chart+xml"/>
  <Override PartName="/ppt/tags/tag54.xml" ContentType="application/vnd.openxmlformats-officedocument.presentationml.tags+xml"/>
  <Override PartName="/ppt/charts/chart38.xml" ContentType="application/vnd.openxmlformats-officedocument.drawingml.chart+xml"/>
  <Override PartName="/ppt/tags/tag55.xml" ContentType="application/vnd.openxmlformats-officedocument.presentationml.tags+xml"/>
  <Override PartName="/ppt/charts/chart39.xml" ContentType="application/vnd.openxmlformats-officedocument.drawingml.chart+xml"/>
  <Override PartName="/ppt/tags/tag56.xml" ContentType="application/vnd.openxmlformats-officedocument.presentationml.tags+xml"/>
  <Override PartName="/ppt/charts/chart40.xml" ContentType="application/vnd.openxmlformats-officedocument.drawingml.chart+xml"/>
  <Override PartName="/ppt/tags/tag57.xml" ContentType="application/vnd.openxmlformats-officedocument.presentationml.tags+xml"/>
  <Override PartName="/ppt/charts/chart41.xml" ContentType="application/vnd.openxmlformats-officedocument.drawingml.chart+xml"/>
  <Override PartName="/ppt/tags/tag58.xml" ContentType="application/vnd.openxmlformats-officedocument.presentationml.tags+xml"/>
  <Override PartName="/ppt/charts/chart42.xml" ContentType="application/vnd.openxmlformats-officedocument.drawingml.chart+xml"/>
  <Override PartName="/ppt/tags/tag59.xml" ContentType="application/vnd.openxmlformats-officedocument.presentationml.tags+xml"/>
  <Override PartName="/ppt/charts/chart43.xml" ContentType="application/vnd.openxmlformats-officedocument.drawingml.chart+xml"/>
  <Override PartName="/ppt/tags/tag60.xml" ContentType="application/vnd.openxmlformats-officedocument.presentationml.tags+xml"/>
  <Override PartName="/ppt/charts/chart44.xml" ContentType="application/vnd.openxmlformats-officedocument.drawingml.chart+xml"/>
  <Override PartName="/ppt/tags/tag61.xml" ContentType="application/vnd.openxmlformats-officedocument.presentationml.tags+xml"/>
  <Override PartName="/ppt/charts/chart45.xml" ContentType="application/vnd.openxmlformats-officedocument.drawingml.chart+xml"/>
  <Override PartName="/ppt/tags/tag62.xml" ContentType="application/vnd.openxmlformats-officedocument.presentationml.tags+xml"/>
  <Override PartName="/ppt/charts/chart46.xml" ContentType="application/vnd.openxmlformats-officedocument.drawingml.chart+xml"/>
  <Override PartName="/ppt/tags/tag63.xml" ContentType="application/vnd.openxmlformats-officedocument.presentationml.tags+xml"/>
  <Override PartName="/ppt/charts/chart47.xml" ContentType="application/vnd.openxmlformats-officedocument.drawingml.chart+xml"/>
  <Override PartName="/ppt/tags/tag64.xml" ContentType="application/vnd.openxmlformats-officedocument.presentationml.tags+xml"/>
  <Override PartName="/ppt/charts/chart48.xml" ContentType="application/vnd.openxmlformats-officedocument.drawingml.chart+xml"/>
  <Override PartName="/ppt/tags/tag65.xml" ContentType="application/vnd.openxmlformats-officedocument.presentationml.tags+xml"/>
  <Override PartName="/ppt/charts/chart49.xml" ContentType="application/vnd.openxmlformats-officedocument.drawingml.chart+xml"/>
  <Override PartName="/ppt/tags/tag66.xml" ContentType="application/vnd.openxmlformats-officedocument.presentationml.tags+xml"/>
  <Override PartName="/ppt/charts/chart50.xml" ContentType="application/vnd.openxmlformats-officedocument.drawingml.chart+xml"/>
  <Override PartName="/ppt/tags/tag67.xml" ContentType="application/vnd.openxmlformats-officedocument.presentationml.tags+xml"/>
  <Override PartName="/ppt/charts/chart51.xml" ContentType="application/vnd.openxmlformats-officedocument.drawingml.chart+xml"/>
  <Override PartName="/ppt/tags/tag68.xml" ContentType="application/vnd.openxmlformats-officedocument.presentationml.tags+xml"/>
  <Override PartName="/ppt/charts/chart52.xml" ContentType="application/vnd.openxmlformats-officedocument.drawingml.chart+xml"/>
  <Override PartName="/ppt/tags/tag69.xml" ContentType="application/vnd.openxmlformats-officedocument.presentationml.tags+xml"/>
  <Override PartName="/ppt/charts/chart53.xml" ContentType="application/vnd.openxmlformats-officedocument.drawingml.chart+xml"/>
  <Override PartName="/ppt/tags/tag70.xml" ContentType="application/vnd.openxmlformats-officedocument.presentationml.tags+xml"/>
  <Override PartName="/ppt/charts/chart54.xml" ContentType="application/vnd.openxmlformats-officedocument.drawingml.chart+xml"/>
  <Override PartName="/ppt/tags/tag71.xml" ContentType="application/vnd.openxmlformats-officedocument.presentationml.tags+xml"/>
  <Override PartName="/ppt/charts/chart55.xml" ContentType="application/vnd.openxmlformats-officedocument.drawingml.chart+xml"/>
  <Override PartName="/ppt/tags/tag72.xml" ContentType="application/vnd.openxmlformats-officedocument.presentationml.tags+xml"/>
  <Override PartName="/ppt/charts/chart56.xml" ContentType="application/vnd.openxmlformats-officedocument.drawingml.chart+xml"/>
  <Override PartName="/ppt/tags/tag73.xml" ContentType="application/vnd.openxmlformats-officedocument.presentationml.tags+xml"/>
  <Override PartName="/ppt/charts/chart57.xml" ContentType="application/vnd.openxmlformats-officedocument.drawingml.chart+xml"/>
  <Override PartName="/ppt/tags/tag74.xml" ContentType="application/vnd.openxmlformats-officedocument.presentationml.tags+xml"/>
  <Override PartName="/ppt/charts/chart58.xml" ContentType="application/vnd.openxmlformats-officedocument.drawingml.chart+xml"/>
  <Override PartName="/ppt/tags/tag75.xml" ContentType="application/vnd.openxmlformats-officedocument.presentationml.tags+xml"/>
  <Override PartName="/ppt/charts/chart59.xml" ContentType="application/vnd.openxmlformats-officedocument.drawingml.chart+xml"/>
  <Override PartName="/ppt/tags/tag76.xml" ContentType="application/vnd.openxmlformats-officedocument.presentationml.tags+xml"/>
  <Override PartName="/ppt/charts/chart60.xml" ContentType="application/vnd.openxmlformats-officedocument.drawingml.chart+xml"/>
  <Override PartName="/ppt/tags/tag77.xml" ContentType="application/vnd.openxmlformats-officedocument.presentationml.tags+xml"/>
  <Override PartName="/ppt/notesSlides/notesSlide1.xml" ContentType="application/vnd.openxmlformats-officedocument.presentationml.notesSlide+xml"/>
  <Override PartName="/ppt/tags/tag78.xml" ContentType="application/vnd.openxmlformats-officedocument.presentationml.tags+xml"/>
  <Override PartName="/ppt/notesSlides/notesSlide2.xml" ContentType="application/vnd.openxmlformats-officedocument.presentationml.notesSlide+xml"/>
  <Override PartName="/ppt/tags/tag79.xml" ContentType="application/vnd.openxmlformats-officedocument.presentationml.tags+xml"/>
  <Override PartName="/ppt/notesSlides/notesSlide3.xml" ContentType="application/vnd.openxmlformats-officedocument.presentationml.notesSlide+xml"/>
  <Override PartName="/ppt/tags/tag80.xml" ContentType="application/vnd.openxmlformats-officedocument.presentationml.tags+xml"/>
  <Override PartName="/ppt/notesSlides/notesSlide4.xml" ContentType="application/vnd.openxmlformats-officedocument.presentationml.notesSlide+xml"/>
  <Override PartName="/ppt/tags/tag81.xml" ContentType="application/vnd.openxmlformats-officedocument.presentationml.tags+xml"/>
  <Override PartName="/ppt/notesSlides/notesSlide5.xml" ContentType="application/vnd.openxmlformats-officedocument.presentationml.notesSlide+xml"/>
  <Override PartName="/ppt/tags/tag82.xml" ContentType="application/vnd.openxmlformats-officedocument.presentationml.tags+xml"/>
  <Override PartName="/ppt/notesSlides/notesSlide6.xml" ContentType="application/vnd.openxmlformats-officedocument.presentationml.notesSlide+xml"/>
  <Override PartName="/ppt/tags/tag83.xml" ContentType="application/vnd.openxmlformats-officedocument.presentationml.tags+xml"/>
  <Override PartName="/ppt/notesSlides/notesSlide7.xml" ContentType="application/vnd.openxmlformats-officedocument.presentationml.notesSlide+xml"/>
  <Override PartName="/ppt/tags/tag84.xml" ContentType="application/vnd.openxmlformats-officedocument.presentationml.tags+xml"/>
  <Override PartName="/ppt/notesSlides/notesSlide8.xml" ContentType="application/vnd.openxmlformats-officedocument.presentationml.notesSlide+xml"/>
  <Override PartName="/ppt/tags/tag85.xml" ContentType="application/vnd.openxmlformats-officedocument.presentationml.tags+xml"/>
  <Override PartName="/ppt/notesSlides/notesSlide9.xml" ContentType="application/vnd.openxmlformats-officedocument.presentationml.notesSlide+xml"/>
  <Override PartName="/ppt/tags/tag86.xml" ContentType="application/vnd.openxmlformats-officedocument.presentationml.tags+xml"/>
  <Override PartName="/ppt/notesSlides/notesSlide10.xml" ContentType="application/vnd.openxmlformats-officedocument.presentationml.notesSlide+xml"/>
  <Override PartName="/ppt/tags/tag87.xml" ContentType="application/vnd.openxmlformats-officedocument.presentationml.tags+xml"/>
  <Override PartName="/ppt/notesSlides/notesSlide11.xml" ContentType="application/vnd.openxmlformats-officedocument.presentationml.notesSlide+xml"/>
  <Override PartName="/ppt/tags/tag88.xml" ContentType="application/vnd.openxmlformats-officedocument.presentationml.tags+xml"/>
  <Override PartName="/ppt/notesSlides/notesSlide12.xml" ContentType="application/vnd.openxmlformats-officedocument.presentationml.notesSlide+xml"/>
  <Override PartName="/ppt/tags/tag89.xml" ContentType="application/vnd.openxmlformats-officedocument.presentationml.tags+xml"/>
  <Override PartName="/ppt/notesSlides/notesSlide13.xml" ContentType="application/vnd.openxmlformats-officedocument.presentationml.notesSlide+xml"/>
  <Override PartName="/ppt/charts/chart61.xml" ContentType="application/vnd.openxmlformats-officedocument.drawingml.chart+xml"/>
  <Override PartName="/ppt/charts/style1.xml" ContentType="application/vnd.ms-office.chartstyle+xml"/>
  <Override PartName="/ppt/charts/colors1.xml" ContentType="application/vnd.ms-office.chartcolorstyle+xml"/>
  <Override PartName="/ppt/tags/tag90.xml" ContentType="application/vnd.openxmlformats-officedocument.presentationml.tags+xml"/>
  <Override PartName="/ppt/notesSlides/notesSlide14.xml" ContentType="application/vnd.openxmlformats-officedocument.presentationml.notesSlide+xml"/>
  <Override PartName="/ppt/charts/chart62.xml" ContentType="application/vnd.openxmlformats-officedocument.drawingml.chart+xml"/>
  <Override PartName="/ppt/charts/style2.xml" ContentType="application/vnd.ms-office.chartstyle+xml"/>
  <Override PartName="/ppt/charts/colors2.xml" ContentType="application/vnd.ms-office.chartcolorstyle+xml"/>
  <Override PartName="/ppt/tags/tag91.xml" ContentType="application/vnd.openxmlformats-officedocument.presentationml.tags+xml"/>
  <Override PartName="/ppt/notesSlides/notesSlide15.xml" ContentType="application/vnd.openxmlformats-officedocument.presentationml.notesSlide+xml"/>
  <Override PartName="/ppt/charts/chart63.xml" ContentType="application/vnd.openxmlformats-officedocument.drawingml.chart+xml"/>
  <Override PartName="/ppt/charts/style3.xml" ContentType="application/vnd.ms-office.chartstyle+xml"/>
  <Override PartName="/ppt/charts/colors3.xml" ContentType="application/vnd.ms-office.chartcolorstyle+xml"/>
  <Override PartName="/ppt/tags/tag92.xml" ContentType="application/vnd.openxmlformats-officedocument.presentationml.tags+xml"/>
  <Override PartName="/ppt/notesSlides/notesSlide16.xml" ContentType="application/vnd.openxmlformats-officedocument.presentationml.notesSlide+xml"/>
  <Override PartName="/ppt/charts/chart64.xml" ContentType="application/vnd.openxmlformats-officedocument.drawingml.chart+xml"/>
  <Override PartName="/ppt/charts/style4.xml" ContentType="application/vnd.ms-office.chartstyle+xml"/>
  <Override PartName="/ppt/charts/colors4.xml" ContentType="application/vnd.ms-office.chartcolorstyle+xml"/>
  <Override PartName="/ppt/tags/tag93.xml" ContentType="application/vnd.openxmlformats-officedocument.presentationml.tags+xml"/>
  <Override PartName="/ppt/notesSlides/notesSlide17.xml" ContentType="application/vnd.openxmlformats-officedocument.presentationml.notesSlide+xml"/>
  <Override PartName="/ppt/charts/chart65.xml" ContentType="application/vnd.openxmlformats-officedocument.drawingml.chart+xml"/>
  <Override PartName="/ppt/charts/style5.xml" ContentType="application/vnd.ms-office.chartstyle+xml"/>
  <Override PartName="/ppt/charts/colors5.xml" ContentType="application/vnd.ms-office.chartcolorstyle+xml"/>
  <Override PartName="/ppt/tags/tag94.xml" ContentType="application/vnd.openxmlformats-officedocument.presentationml.tags+xml"/>
  <Override PartName="/ppt/notesSlides/notesSlide18.xml" ContentType="application/vnd.openxmlformats-officedocument.presentationml.notesSlide+xml"/>
  <Override PartName="/ppt/charts/chart66.xml" ContentType="application/vnd.openxmlformats-officedocument.drawingml.chart+xml"/>
  <Override PartName="/ppt/charts/style6.xml" ContentType="application/vnd.ms-office.chartstyle+xml"/>
  <Override PartName="/ppt/charts/colors6.xml" ContentType="application/vnd.ms-office.chartcolorstyle+xml"/>
  <Override PartName="/ppt/tags/tag95.xml" ContentType="application/vnd.openxmlformats-officedocument.presentationml.tags+xml"/>
  <Override PartName="/ppt/notesSlides/notesSlide19.xml" ContentType="application/vnd.openxmlformats-officedocument.presentationml.notesSlide+xml"/>
  <Override PartName="/ppt/charts/chart67.xml" ContentType="application/vnd.openxmlformats-officedocument.drawingml.chart+xml"/>
  <Override PartName="/ppt/charts/style7.xml" ContentType="application/vnd.ms-office.chartstyle+xml"/>
  <Override PartName="/ppt/charts/colors7.xml" ContentType="application/vnd.ms-office.chartcolorstyle+xml"/>
  <Override PartName="/ppt/tags/tag96.xml" ContentType="application/vnd.openxmlformats-officedocument.presentationml.tags+xml"/>
  <Override PartName="/ppt/notesSlides/notesSlide20.xml" ContentType="application/vnd.openxmlformats-officedocument.presentationml.notesSlide+xml"/>
  <Override PartName="/ppt/charts/chart68.xml" ContentType="application/vnd.openxmlformats-officedocument.drawingml.chart+xml"/>
  <Override PartName="/ppt/charts/style8.xml" ContentType="application/vnd.ms-office.chartstyle+xml"/>
  <Override PartName="/ppt/charts/colors8.xml" ContentType="application/vnd.ms-office.chartcolorstyle+xml"/>
  <Override PartName="/ppt/tags/tag97.xml" ContentType="application/vnd.openxmlformats-officedocument.presentationml.tags+xml"/>
  <Override PartName="/ppt/notesSlides/notesSlide21.xml" ContentType="application/vnd.openxmlformats-officedocument.presentationml.notesSlide+xml"/>
  <Override PartName="/ppt/charts/chart69.xml" ContentType="application/vnd.openxmlformats-officedocument.drawingml.chart+xml"/>
  <Override PartName="/ppt/charts/style9.xml" ContentType="application/vnd.ms-office.chartstyle+xml"/>
  <Override PartName="/ppt/charts/colors9.xml" ContentType="application/vnd.ms-office.chartcolorstyle+xml"/>
  <Override PartName="/ppt/tags/tag98.xml" ContentType="application/vnd.openxmlformats-officedocument.presentationml.tags+xml"/>
  <Override PartName="/ppt/notesSlides/notesSlide22.xml" ContentType="application/vnd.openxmlformats-officedocument.presentationml.notesSlide+xml"/>
  <Override PartName="/ppt/charts/chart70.xml" ContentType="application/vnd.openxmlformats-officedocument.drawingml.chart+xml"/>
  <Override PartName="/ppt/charts/style10.xml" ContentType="application/vnd.ms-office.chartstyle+xml"/>
  <Override PartName="/ppt/charts/colors10.xml" ContentType="application/vnd.ms-office.chartcolorstyle+xml"/>
  <Override PartName="/ppt/tags/tag99.xml" ContentType="application/vnd.openxmlformats-officedocument.presentationml.tags+xml"/>
  <Override PartName="/ppt/notesSlides/notesSlide23.xml" ContentType="application/vnd.openxmlformats-officedocument.presentationml.notesSlide+xml"/>
  <Override PartName="/ppt/charts/chart71.xml" ContentType="application/vnd.openxmlformats-officedocument.drawingml.chart+xml"/>
  <Override PartName="/ppt/charts/style11.xml" ContentType="application/vnd.ms-office.chartstyle+xml"/>
  <Override PartName="/ppt/charts/colors11.xml" ContentType="application/vnd.ms-office.chartcolorstyle+xml"/>
  <Override PartName="/ppt/tags/tag100.xml" ContentType="application/vnd.openxmlformats-officedocument.presentationml.tags+xml"/>
  <Override PartName="/ppt/notesSlides/notesSlide24.xml" ContentType="application/vnd.openxmlformats-officedocument.presentationml.notesSlide+xml"/>
  <Override PartName="/ppt/charts/chart72.xml" ContentType="application/vnd.openxmlformats-officedocument.drawingml.chart+xml"/>
  <Override PartName="/ppt/charts/style12.xml" ContentType="application/vnd.ms-office.chartstyle+xml"/>
  <Override PartName="/ppt/charts/colors12.xml" ContentType="application/vnd.ms-office.chartcolorstyle+xml"/>
  <Override PartName="/ppt/tags/tag101.xml" ContentType="application/vnd.openxmlformats-officedocument.presentationml.tags+xml"/>
  <Override PartName="/ppt/notesSlides/notesSlide25.xml" ContentType="application/vnd.openxmlformats-officedocument.presentationml.notesSlide+xml"/>
  <Override PartName="/ppt/charts/chart73.xml" ContentType="application/vnd.openxmlformats-officedocument.drawingml.chart+xml"/>
  <Override PartName="/ppt/charts/style13.xml" ContentType="application/vnd.ms-office.chartstyle+xml"/>
  <Override PartName="/ppt/charts/colors13.xml" ContentType="application/vnd.ms-office.chartcolorstyle+xml"/>
  <Override PartName="/ppt/tags/tag102.xml" ContentType="application/vnd.openxmlformats-officedocument.presentationml.tags+xml"/>
  <Override PartName="/ppt/notesSlides/notesSlide26.xml" ContentType="application/vnd.openxmlformats-officedocument.presentationml.notesSlide+xml"/>
  <Override PartName="/ppt/charts/chart74.xml" ContentType="application/vnd.openxmlformats-officedocument.drawingml.chart+xml"/>
  <Override PartName="/ppt/charts/style14.xml" ContentType="application/vnd.ms-office.chartstyle+xml"/>
  <Override PartName="/ppt/charts/colors14.xml" ContentType="application/vnd.ms-office.chartcolorstyle+xml"/>
  <Override PartName="/ppt/tags/tag103.xml" ContentType="application/vnd.openxmlformats-officedocument.presentationml.tags+xml"/>
  <Override PartName="/ppt/notesSlides/notesSlide27.xml" ContentType="application/vnd.openxmlformats-officedocument.presentationml.notesSlide+xml"/>
  <Override PartName="/ppt/charts/chart75.xml" ContentType="application/vnd.openxmlformats-officedocument.drawingml.chart+xml"/>
  <Override PartName="/ppt/charts/style15.xml" ContentType="application/vnd.ms-office.chartstyle+xml"/>
  <Override PartName="/ppt/charts/colors15.xml" ContentType="application/vnd.ms-office.chartcolorstyle+xml"/>
  <Override PartName="/ppt/tags/tag104.xml" ContentType="application/vnd.openxmlformats-officedocument.presentationml.tags+xml"/>
  <Override PartName="/ppt/notesSlides/notesSlide28.xml" ContentType="application/vnd.openxmlformats-officedocument.presentationml.notesSlide+xml"/>
  <Override PartName="/ppt/charts/chart76.xml" ContentType="application/vnd.openxmlformats-officedocument.drawingml.chart+xml"/>
  <Override PartName="/ppt/charts/style16.xml" ContentType="application/vnd.ms-office.chartstyle+xml"/>
  <Override PartName="/ppt/charts/colors16.xml" ContentType="application/vnd.ms-office.chartcolorstyle+xml"/>
  <Override PartName="/ppt/tags/tag105.xml" ContentType="application/vnd.openxmlformats-officedocument.presentationml.tags+xml"/>
  <Override PartName="/ppt/notesSlides/notesSlide29.xml" ContentType="application/vnd.openxmlformats-officedocument.presentationml.notesSlide+xml"/>
  <Override PartName="/ppt/charts/chart77.xml" ContentType="application/vnd.openxmlformats-officedocument.drawingml.chart+xml"/>
  <Override PartName="/ppt/charts/style17.xml" ContentType="application/vnd.ms-office.chartstyle+xml"/>
  <Override PartName="/ppt/charts/colors17.xml" ContentType="application/vnd.ms-office.chartcolorstyle+xml"/>
  <Override PartName="/ppt/tags/tag106.xml" ContentType="application/vnd.openxmlformats-officedocument.presentationml.tags+xml"/>
  <Override PartName="/ppt/notesSlides/notesSlide30.xml" ContentType="application/vnd.openxmlformats-officedocument.presentationml.notesSlide+xml"/>
  <Override PartName="/ppt/charts/chart78.xml" ContentType="application/vnd.openxmlformats-officedocument.drawingml.chart+xml"/>
  <Override PartName="/ppt/charts/style18.xml" ContentType="application/vnd.ms-office.chartstyle+xml"/>
  <Override PartName="/ppt/charts/colors18.xml" ContentType="application/vnd.ms-office.chartcolorstyle+xml"/>
  <Override PartName="/ppt/tags/tag107.xml" ContentType="application/vnd.openxmlformats-officedocument.presentationml.tags+xml"/>
  <Override PartName="/ppt/notesSlides/notesSlide31.xml" ContentType="application/vnd.openxmlformats-officedocument.presentationml.notesSlide+xml"/>
  <Override PartName="/ppt/charts/chart79.xml" ContentType="application/vnd.openxmlformats-officedocument.drawingml.chart+xml"/>
  <Override PartName="/ppt/charts/style19.xml" ContentType="application/vnd.ms-office.chartstyle+xml"/>
  <Override PartName="/ppt/charts/colors19.xml" ContentType="application/vnd.ms-office.chartcolorstyle+xml"/>
  <Override PartName="/ppt/tags/tag108.xml" ContentType="application/vnd.openxmlformats-officedocument.presentationml.tags+xml"/>
  <Override PartName="/ppt/notesSlides/notesSlide32.xml" ContentType="application/vnd.openxmlformats-officedocument.presentationml.notesSlide+xml"/>
  <Override PartName="/ppt/charts/chart80.xml" ContentType="application/vnd.openxmlformats-officedocument.drawingml.chart+xml"/>
  <Override PartName="/ppt/charts/style20.xml" ContentType="application/vnd.ms-office.chartstyle+xml"/>
  <Override PartName="/ppt/charts/colors20.xml" ContentType="application/vnd.ms-office.chartcolorstyle+xml"/>
  <Override PartName="/ppt/tags/tag109.xml" ContentType="application/vnd.openxmlformats-officedocument.presentationml.tags+xml"/>
  <Override PartName="/ppt/notesSlides/notesSlide33.xml" ContentType="application/vnd.openxmlformats-officedocument.presentationml.notesSlide+xml"/>
  <Override PartName="/ppt/charts/chart81.xml" ContentType="application/vnd.openxmlformats-officedocument.drawingml.chart+xml"/>
  <Override PartName="/ppt/charts/style21.xml" ContentType="application/vnd.ms-office.chartstyle+xml"/>
  <Override PartName="/ppt/charts/colors21.xml" ContentType="application/vnd.ms-office.chartcolorstyle+xml"/>
  <Override PartName="/ppt/tags/tag110.xml" ContentType="application/vnd.openxmlformats-officedocument.presentationml.tags+xml"/>
  <Override PartName="/ppt/notesSlides/notesSlide34.xml" ContentType="application/vnd.openxmlformats-officedocument.presentationml.notesSlide+xml"/>
  <Override PartName="/ppt/charts/chart82.xml" ContentType="application/vnd.openxmlformats-officedocument.drawingml.chart+xml"/>
  <Override PartName="/ppt/charts/style22.xml" ContentType="application/vnd.ms-office.chartstyle+xml"/>
  <Override PartName="/ppt/charts/colors22.xml" ContentType="application/vnd.ms-office.chartcolorstyle+xml"/>
  <Override PartName="/ppt/tags/tag111.xml" ContentType="application/vnd.openxmlformats-officedocument.presentationml.tags+xml"/>
  <Override PartName="/ppt/notesSlides/notesSlide35.xml" ContentType="application/vnd.openxmlformats-officedocument.presentationml.notesSlide+xml"/>
  <Override PartName="/ppt/charts/chart83.xml" ContentType="application/vnd.openxmlformats-officedocument.drawingml.chart+xml"/>
  <Override PartName="/ppt/charts/style23.xml" ContentType="application/vnd.ms-office.chartstyle+xml"/>
  <Override PartName="/ppt/charts/colors23.xml" ContentType="application/vnd.ms-office.chartcolorstyle+xml"/>
  <Override PartName="/ppt/tags/tag112.xml" ContentType="application/vnd.openxmlformats-officedocument.presentationml.tags+xml"/>
  <Override PartName="/ppt/notesSlides/notesSlide36.xml" ContentType="application/vnd.openxmlformats-officedocument.presentationml.notesSlide+xml"/>
  <Override PartName="/ppt/charts/chart84.xml" ContentType="application/vnd.openxmlformats-officedocument.drawingml.chart+xml"/>
  <Override PartName="/ppt/charts/style24.xml" ContentType="application/vnd.ms-office.chartstyle+xml"/>
  <Override PartName="/ppt/charts/colors24.xml" ContentType="application/vnd.ms-office.chartcolorstyle+xml"/>
  <Override PartName="/ppt/tags/tag113.xml" ContentType="application/vnd.openxmlformats-officedocument.presentationml.tags+xml"/>
  <Override PartName="/ppt/notesSlides/notesSlide37.xml" ContentType="application/vnd.openxmlformats-officedocument.presentationml.notesSlide+xml"/>
  <Override PartName="/ppt/charts/chart85.xml" ContentType="application/vnd.openxmlformats-officedocument.drawingml.chart+xml"/>
  <Override PartName="/ppt/charts/style25.xml" ContentType="application/vnd.ms-office.chartstyle+xml"/>
  <Override PartName="/ppt/charts/colors25.xml" ContentType="application/vnd.ms-office.chartcolorstyle+xml"/>
  <Override PartName="/ppt/tags/tag114.xml" ContentType="application/vnd.openxmlformats-officedocument.presentationml.tags+xml"/>
  <Override PartName="/ppt/notesSlides/notesSlide38.xml" ContentType="application/vnd.openxmlformats-officedocument.presentationml.notesSlide+xml"/>
  <Override PartName="/ppt/charts/chart86.xml" ContentType="application/vnd.openxmlformats-officedocument.drawingml.chart+xml"/>
  <Override PartName="/ppt/charts/style26.xml" ContentType="application/vnd.ms-office.chartstyle+xml"/>
  <Override PartName="/ppt/charts/colors26.xml" ContentType="application/vnd.ms-office.chartcolorstyle+xml"/>
  <Override PartName="/ppt/tags/tag115.xml" ContentType="application/vnd.openxmlformats-officedocument.presentationml.tags+xml"/>
  <Override PartName="/ppt/notesSlides/notesSlide39.xml" ContentType="application/vnd.openxmlformats-officedocument.presentationml.notesSlide+xml"/>
  <Override PartName="/ppt/charts/chart87.xml" ContentType="application/vnd.openxmlformats-officedocument.drawingml.chart+xml"/>
  <Override PartName="/ppt/charts/style27.xml" ContentType="application/vnd.ms-office.chartstyle+xml"/>
  <Override PartName="/ppt/charts/colors27.xml" ContentType="application/vnd.ms-office.chartcolorstyle+xml"/>
  <Override PartName="/ppt/tags/tag116.xml" ContentType="application/vnd.openxmlformats-officedocument.presentationml.tags+xml"/>
  <Override PartName="/ppt/notesSlides/notesSlide40.xml" ContentType="application/vnd.openxmlformats-officedocument.presentationml.notesSlide+xml"/>
  <Override PartName="/ppt/charts/chart88.xml" ContentType="application/vnd.openxmlformats-officedocument.drawingml.chart+xml"/>
  <Override PartName="/ppt/charts/style28.xml" ContentType="application/vnd.ms-office.chartstyle+xml"/>
  <Override PartName="/ppt/charts/colors28.xml" ContentType="application/vnd.ms-office.chartcolorstyle+xml"/>
  <Override PartName="/ppt/tags/tag117.xml" ContentType="application/vnd.openxmlformats-officedocument.presentationml.tags+xml"/>
  <Override PartName="/ppt/notesSlides/notesSlide41.xml" ContentType="application/vnd.openxmlformats-officedocument.presentationml.notesSlide+xml"/>
  <Override PartName="/ppt/charts/chart89.xml" ContentType="application/vnd.openxmlformats-officedocument.drawingml.chart+xml"/>
  <Override PartName="/ppt/charts/style29.xml" ContentType="application/vnd.ms-office.chartstyle+xml"/>
  <Override PartName="/ppt/charts/colors29.xml" ContentType="application/vnd.ms-office.chartcolorstyle+xml"/>
  <Override PartName="/ppt/tags/tag118.xml" ContentType="application/vnd.openxmlformats-officedocument.presentationml.tags+xml"/>
  <Override PartName="/ppt/notesSlides/notesSlide42.xml" ContentType="application/vnd.openxmlformats-officedocument.presentationml.notesSlide+xml"/>
  <Override PartName="/ppt/charts/chart90.xml" ContentType="application/vnd.openxmlformats-officedocument.drawingml.chart+xml"/>
  <Override PartName="/ppt/charts/style30.xml" ContentType="application/vnd.ms-office.chartstyle+xml"/>
  <Override PartName="/ppt/charts/colors30.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96"/>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sitioning Summary Category" id="{996ADD45-3744-4EE1-A669-9400CCFCEA5D}">
          <p14:sldIdLst>
            <p14:sldId id="2147477365"/>
            <p14:sldId id="2147477366"/>
            <p14:sldId id="2147477367"/>
          </p14:sldIdLst>
        </p14:section>
        <p14:section name="Price Positioning Summary Sector" id="{F5C53AED-2064-4190-9693-70FA1AE5A514}">
          <p14:sldIdLst>
            <p14:sldId id="2147477368"/>
            <p14:sldId id="2147477369"/>
            <p14:sldId id="2147477370"/>
          </p14:sldIdLst>
        </p14:section>
        <p14:section name="Price Positioning Summary Segment" id="{E0688105-A148-488B-B1AC-A72F8A02200F}">
          <p14:sldIdLst>
            <p14:sldId id="2147477371"/>
            <p14:sldId id="2147477372"/>
            <p14:sldId id="2147477373"/>
          </p14:sldIdLst>
        </p14:section>
        <p14:section name="Price Positioning Analysis By Brands" id="{AB9977D4-94CE-49A5-A9BD-F33FC3D2A617}">
          <p14:sldIdLst>
            <p14:sldId id="2147477374"/>
            <p14:sldId id="2147477375"/>
            <p14:sldId id="2147477376"/>
            <p14:sldId id="2147477377"/>
            <p14:sldId id="2147477378"/>
            <p14:sldId id="2147477379"/>
            <p14:sldId id="2147477380"/>
            <p14:sldId id="2147477381"/>
            <p14:sldId id="2147477382"/>
            <p14:sldId id="2147477383"/>
            <p14:sldId id="2147477384"/>
            <p14:sldId id="2147477385"/>
            <p14:sldId id="2147477386"/>
            <p14:sldId id="2147477387"/>
            <p14:sldId id="2147477388"/>
            <p14:sldId id="2147477389"/>
            <p14:sldId id="2147477390"/>
            <p14:sldId id="2147477391"/>
            <p14:sldId id="2147477392"/>
            <p14:sldId id="2147477393"/>
          </p14:sldIdLst>
        </p14:section>
        <p14:section name="Price Positioning Analysis By Manufacturer" id="{B60E0AC3-8219-45F9-8376-5EF29E98484B}">
          <p14:sldIdLst>
            <p14:sldId id="2147477394"/>
            <p14:sldId id="2147477395"/>
            <p14:sldId id="2147477396"/>
            <p14:sldId id="2147477397"/>
            <p14:sldId id="2147477398"/>
            <p14:sldId id="2147477399"/>
            <p14:sldId id="2147477400"/>
            <p14:sldId id="2147477401"/>
            <p14:sldId id="2147477402"/>
            <p14:sldId id="2147477403"/>
            <p14:sldId id="2147477404"/>
            <p14:sldId id="2147477405"/>
            <p14:sldId id="2147477406"/>
            <p14:sldId id="2147477407"/>
            <p14:sldId id="2147477408"/>
            <p14:sldId id="2147477409"/>
            <p14:sldId id="2147477410"/>
            <p14:sldId id="2147477411"/>
            <p14:sldId id="2147477412"/>
            <p14:sldId id="2147477413"/>
          </p14:sldIdLst>
        </p14:section>
        <p14:section name="Sectors Share and Growth By Brands" id="{C0DB0C25-1AC3-4CA8-9D0C-0AF7EE28A089}">
          <p14:sldIdLst>
            <p14:sldId id="2147477414"/>
            <p14:sldId id="2147477415"/>
            <p14:sldId id="2147477416"/>
          </p14:sldIdLst>
        </p14:section>
        <p14:section name="Segments Share and Growth By Brands" id="{1CE0E2BA-DC6F-4204-9AC0-A911FAACED0C}">
          <p14:sldIdLst>
            <p14:sldId id="2147477417"/>
            <p14:sldId id="2147477418"/>
            <p14:sldId id="2147477419"/>
          </p14:sldIdLst>
        </p14:section>
        <p14:section name="Sectors Share and Growth By Manufacturer" id="{9FA2D5FC-7243-4F98-AC39-7BE4C4BB2F8E}">
          <p14:sldIdLst>
            <p14:sldId id="2147477420"/>
            <p14:sldId id="2147477421"/>
            <p14:sldId id="2147477422"/>
          </p14:sldIdLst>
        </p14:section>
        <p14:section name="Segments Share and Growth By Manufacturer" id="{B50117D1-628F-44F4-90E6-FF90F54F4FF0}">
          <p14:sldIdLst>
            <p14:sldId id="2147477423"/>
            <p14:sldId id="2147477424"/>
            <p14:sldId id="2147477425"/>
          </p14:sldIdLst>
        </p14:section>
        <p14:section name="Sec/Seg Value Sales Vs Avg Price By Manufacturer" id="{97185FC1-66D7-490E-82AE-DFA046025016}">
          <p14:sldIdLst>
            <p14:sldId id="2147477426"/>
            <p14:sldId id="2147477427"/>
            <p14:sldId id="2147477428"/>
          </p14:sldIdLst>
        </p14:section>
        <p14:section name="Sec/Seg Value Sales Vs Avg Price" id="{F55AB158-D883-4CE4-8CAF-7A4BF53D8308}">
          <p14:sldIdLst>
            <p14:sldId id="2147477429"/>
            <p14:sldId id="2147477430"/>
            <p14:sldId id="2147477431"/>
            <p14:sldId id="2147477432"/>
            <p14:sldId id="2147477433"/>
            <p14:sldId id="2147477434"/>
            <p14:sldId id="2147477435"/>
            <p14:sldId id="2147477436"/>
            <p14:sldId id="2147477437"/>
          </p14:sldIdLst>
        </p14:section>
        <p14:section name="Sectors Value Sales Vs Avg Price" id="{ED083086-3BFF-4C46-9330-DB7F3B7E90A2}">
          <p14:sldIdLst>
            <p14:sldId id="2147477438"/>
            <p14:sldId id="2147477439"/>
            <p14:sldId id="2147477440"/>
            <p14:sldId id="2147477441"/>
            <p14:sldId id="2147477442"/>
            <p14:sldId id="2147477443"/>
            <p14:sldId id="2147477444"/>
            <p14:sldId id="2147477445"/>
            <p14:sldId id="2147477446"/>
          </p14:sldIdLst>
        </p14:section>
        <p14:section name="Segment Value Sales Vs Avg Price" id="{CC7A18C0-9CBD-41A5-B80B-4F8A5F14115B}">
          <p14:sldIdLst>
            <p14:sldId id="2147477447"/>
            <p14:sldId id="2147477448"/>
            <p14:sldId id="2147477449"/>
            <p14:sldId id="2147477450"/>
            <p14:sldId id="2147477451"/>
            <p14:sldId id="2147477452"/>
            <p14:sldId id="2147477453"/>
            <p14:sldId id="2147477454"/>
            <p14:sldId id="2147477455"/>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0" d="100"/>
          <a:sy n="60" d="100"/>
        </p:scale>
        <p:origin x="72" y="270"/>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theme" Target="theme/theme1.xml"/><Relationship Id="rId10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presProps" Target="presProp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viewProps" Target="viewProps.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1.xml"/><Relationship Id="rId1" Type="http://schemas.microsoft.com/office/2011/relationships/chartStyle" Target="style1.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2.xml"/><Relationship Id="rId1" Type="http://schemas.microsoft.com/office/2011/relationships/chartStyle" Target="style2.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3.xml"/><Relationship Id="rId1" Type="http://schemas.microsoft.com/office/2011/relationships/chartStyle" Target="style3.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4.xml"/><Relationship Id="rId1" Type="http://schemas.microsoft.com/office/2011/relationships/chartStyle" Target="style4.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5.xml"/><Relationship Id="rId1" Type="http://schemas.microsoft.com/office/2011/relationships/chartStyle" Target="style5.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xml"/><Relationship Id="rId1" Type="http://schemas.microsoft.com/office/2011/relationships/chartStyle" Target="style6.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7.xml"/><Relationship Id="rId1" Type="http://schemas.microsoft.com/office/2011/relationships/chartStyle" Target="style7.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8.xml"/><Relationship Id="rId1" Type="http://schemas.microsoft.com/office/2011/relationships/chartStyle" Target="style8.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9.xml"/><Relationship Id="rId1" Type="http://schemas.microsoft.com/office/2011/relationships/chartStyle" Target="style9.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10.xml"/><Relationship Id="rId1" Type="http://schemas.microsoft.com/office/2011/relationships/chartStyle" Target="style10.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11.xml"/><Relationship Id="rId1" Type="http://schemas.microsoft.com/office/2011/relationships/chartStyle" Target="style11.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12.xml"/><Relationship Id="rId1" Type="http://schemas.microsoft.com/office/2011/relationships/chartStyle" Target="style12.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13.xml"/><Relationship Id="rId1" Type="http://schemas.microsoft.com/office/2011/relationships/chartStyle" Target="style13.xml"/></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14.xml"/><Relationship Id="rId1" Type="http://schemas.microsoft.com/office/2011/relationships/chartStyle" Target="style14.xml"/></Relationships>
</file>

<file path=ppt/charts/_rels/chart75.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15.xml"/><Relationship Id="rId1" Type="http://schemas.microsoft.com/office/2011/relationships/chartStyle" Target="style15.xml"/></Relationships>
</file>

<file path=ppt/charts/_rels/chart76.xml.rels><?xml version="1.0" encoding="UTF-8" standalone="yes"?>
<Relationships xmlns="http://schemas.openxmlformats.org/package/2006/relationships"><Relationship Id="rId3" Type="http://schemas.openxmlformats.org/officeDocument/2006/relationships/package" Target="../embeddings/Microsoft_Excel_Worksheet75.xlsx"/><Relationship Id="rId2" Type="http://schemas.microsoft.com/office/2011/relationships/chartColorStyle" Target="colors16.xml"/><Relationship Id="rId1" Type="http://schemas.microsoft.com/office/2011/relationships/chartStyle" Target="style16.xml"/></Relationships>
</file>

<file path=ppt/charts/_rels/chart77.xml.rels><?xml version="1.0" encoding="UTF-8" standalone="yes"?>
<Relationships xmlns="http://schemas.openxmlformats.org/package/2006/relationships"><Relationship Id="rId3" Type="http://schemas.openxmlformats.org/officeDocument/2006/relationships/package" Target="../embeddings/Microsoft_Excel_Worksheet76.xlsx"/><Relationship Id="rId2" Type="http://schemas.microsoft.com/office/2011/relationships/chartColorStyle" Target="colors17.xml"/><Relationship Id="rId1" Type="http://schemas.microsoft.com/office/2011/relationships/chartStyle" Target="style17.xml"/></Relationships>
</file>

<file path=ppt/charts/_rels/chart78.xml.rels><?xml version="1.0" encoding="UTF-8" standalone="yes"?>
<Relationships xmlns="http://schemas.openxmlformats.org/package/2006/relationships"><Relationship Id="rId3" Type="http://schemas.openxmlformats.org/officeDocument/2006/relationships/package" Target="../embeddings/Microsoft_Excel_Worksheet77.xlsx"/><Relationship Id="rId2" Type="http://schemas.microsoft.com/office/2011/relationships/chartColorStyle" Target="colors18.xml"/><Relationship Id="rId1" Type="http://schemas.microsoft.com/office/2011/relationships/chartStyle" Target="style18.xml"/></Relationships>
</file>

<file path=ppt/charts/_rels/chart79.xml.rels><?xml version="1.0" encoding="UTF-8" standalone="yes"?>
<Relationships xmlns="http://schemas.openxmlformats.org/package/2006/relationships"><Relationship Id="rId3" Type="http://schemas.openxmlformats.org/officeDocument/2006/relationships/package" Target="../embeddings/Microsoft_Excel_Worksheet78.xlsx"/><Relationship Id="rId2" Type="http://schemas.microsoft.com/office/2011/relationships/chartColorStyle" Target="colors19.xml"/><Relationship Id="rId1" Type="http://schemas.microsoft.com/office/2011/relationships/chartStyle" Target="style19.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3" Type="http://schemas.openxmlformats.org/officeDocument/2006/relationships/package" Target="../embeddings/Microsoft_Excel_Worksheet79.xlsx"/><Relationship Id="rId2" Type="http://schemas.microsoft.com/office/2011/relationships/chartColorStyle" Target="colors20.xml"/><Relationship Id="rId1" Type="http://schemas.microsoft.com/office/2011/relationships/chartStyle" Target="style20.xml"/></Relationships>
</file>

<file path=ppt/charts/_rels/chart81.xml.rels><?xml version="1.0" encoding="UTF-8" standalone="yes"?>
<Relationships xmlns="http://schemas.openxmlformats.org/package/2006/relationships"><Relationship Id="rId3" Type="http://schemas.openxmlformats.org/officeDocument/2006/relationships/package" Target="../embeddings/Microsoft_Excel_Worksheet80.xlsx"/><Relationship Id="rId2" Type="http://schemas.microsoft.com/office/2011/relationships/chartColorStyle" Target="colors21.xml"/><Relationship Id="rId1" Type="http://schemas.microsoft.com/office/2011/relationships/chartStyle" Target="style21.xml"/></Relationships>
</file>

<file path=ppt/charts/_rels/chart82.xml.rels><?xml version="1.0" encoding="UTF-8" standalone="yes"?>
<Relationships xmlns="http://schemas.openxmlformats.org/package/2006/relationships"><Relationship Id="rId3" Type="http://schemas.openxmlformats.org/officeDocument/2006/relationships/package" Target="../embeddings/Microsoft_Excel_Worksheet81.xlsx"/><Relationship Id="rId2" Type="http://schemas.microsoft.com/office/2011/relationships/chartColorStyle" Target="colors22.xml"/><Relationship Id="rId1" Type="http://schemas.microsoft.com/office/2011/relationships/chartStyle" Target="style22.xml"/></Relationships>
</file>

<file path=ppt/charts/_rels/chart83.xml.rels><?xml version="1.0" encoding="UTF-8" standalone="yes"?>
<Relationships xmlns="http://schemas.openxmlformats.org/package/2006/relationships"><Relationship Id="rId3" Type="http://schemas.openxmlformats.org/officeDocument/2006/relationships/package" Target="../embeddings/Microsoft_Excel_Worksheet82.xlsx"/><Relationship Id="rId2" Type="http://schemas.microsoft.com/office/2011/relationships/chartColorStyle" Target="colors23.xml"/><Relationship Id="rId1" Type="http://schemas.microsoft.com/office/2011/relationships/chartStyle" Target="style23.xml"/></Relationships>
</file>

<file path=ppt/charts/_rels/chart84.xml.rels><?xml version="1.0" encoding="UTF-8" standalone="yes"?>
<Relationships xmlns="http://schemas.openxmlformats.org/package/2006/relationships"><Relationship Id="rId3" Type="http://schemas.openxmlformats.org/officeDocument/2006/relationships/package" Target="../embeddings/Microsoft_Excel_Worksheet83.xlsx"/><Relationship Id="rId2" Type="http://schemas.microsoft.com/office/2011/relationships/chartColorStyle" Target="colors24.xml"/><Relationship Id="rId1" Type="http://schemas.microsoft.com/office/2011/relationships/chartStyle" Target="style24.xml"/></Relationships>
</file>

<file path=ppt/charts/_rels/chart85.xml.rels><?xml version="1.0" encoding="UTF-8" standalone="yes"?>
<Relationships xmlns="http://schemas.openxmlformats.org/package/2006/relationships"><Relationship Id="rId3" Type="http://schemas.openxmlformats.org/officeDocument/2006/relationships/package" Target="../embeddings/Microsoft_Excel_Worksheet84.xlsx"/><Relationship Id="rId2" Type="http://schemas.microsoft.com/office/2011/relationships/chartColorStyle" Target="colors25.xml"/><Relationship Id="rId1" Type="http://schemas.microsoft.com/office/2011/relationships/chartStyle" Target="style25.xml"/></Relationships>
</file>

<file path=ppt/charts/_rels/chart86.xml.rels><?xml version="1.0" encoding="UTF-8" standalone="yes"?>
<Relationships xmlns="http://schemas.openxmlformats.org/package/2006/relationships"><Relationship Id="rId3" Type="http://schemas.openxmlformats.org/officeDocument/2006/relationships/package" Target="../embeddings/Microsoft_Excel_Worksheet85.xlsx"/><Relationship Id="rId2" Type="http://schemas.microsoft.com/office/2011/relationships/chartColorStyle" Target="colors26.xml"/><Relationship Id="rId1" Type="http://schemas.microsoft.com/office/2011/relationships/chartStyle" Target="style26.xml"/></Relationships>
</file>

<file path=ppt/charts/_rels/chart87.xml.rels><?xml version="1.0" encoding="UTF-8" standalone="yes"?>
<Relationships xmlns="http://schemas.openxmlformats.org/package/2006/relationships"><Relationship Id="rId3" Type="http://schemas.openxmlformats.org/officeDocument/2006/relationships/package" Target="../embeddings/Microsoft_Excel_Worksheet86.xlsx"/><Relationship Id="rId2" Type="http://schemas.microsoft.com/office/2011/relationships/chartColorStyle" Target="colors27.xml"/><Relationship Id="rId1" Type="http://schemas.microsoft.com/office/2011/relationships/chartStyle" Target="style27.xml"/></Relationships>
</file>

<file path=ppt/charts/_rels/chart88.xml.rels><?xml version="1.0" encoding="UTF-8" standalone="yes"?>
<Relationships xmlns="http://schemas.openxmlformats.org/package/2006/relationships"><Relationship Id="rId3" Type="http://schemas.openxmlformats.org/officeDocument/2006/relationships/package" Target="../embeddings/Microsoft_Excel_Worksheet87.xlsx"/><Relationship Id="rId2" Type="http://schemas.microsoft.com/office/2011/relationships/chartColorStyle" Target="colors28.xml"/><Relationship Id="rId1" Type="http://schemas.microsoft.com/office/2011/relationships/chartStyle" Target="style28.xml"/></Relationships>
</file>

<file path=ppt/charts/_rels/chart89.xml.rels><?xml version="1.0" encoding="UTF-8" standalone="yes"?>
<Relationships xmlns="http://schemas.openxmlformats.org/package/2006/relationships"><Relationship Id="rId3" Type="http://schemas.openxmlformats.org/officeDocument/2006/relationships/package" Target="../embeddings/Microsoft_Excel_Worksheet88.xlsx"/><Relationship Id="rId2" Type="http://schemas.microsoft.com/office/2011/relationships/chartColorStyle" Target="colors29.xml"/><Relationship Id="rId1" Type="http://schemas.microsoft.com/office/2011/relationships/chartStyle" Target="style29.xml"/></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3" Type="http://schemas.openxmlformats.org/officeDocument/2006/relationships/package" Target="../embeddings/Microsoft_Excel_Worksheet89.xlsx"/><Relationship Id="rId2" Type="http://schemas.microsoft.com/office/2011/relationships/chartColorStyle" Target="colors30.xml"/><Relationship Id="rId1" Type="http://schemas.microsoft.com/office/2011/relationships/chartStyle" Target="style30.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A817E98-7837-4219-97DC-9C54FE128C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F1A1213-DAE6-4129-B4B9-3FA3ACF309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4DF790E-01EC-467F-B2B6-6DFB60F369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7C824F5-169A-433D-8A14-3F0C0040E7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741FBB1-5035-46D2-85ED-87E366770E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2191881-D0D5-4208-B4E1-DDEF76265A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9036A97-87D2-4C2B-ADE5-F1E5901DAC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EDA60BC-AEA2-4C9A-9CF4-AD0DF92FA6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8E037CC1-1A19-4C46-99A7-701A76A982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56FE51BB-BFCE-45B4-BCF3-EA06FA8639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6EF17066-F56C-45AE-A17B-C9A72ECB35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26F719F1-D819-40E4-AF50-BAFE07C5A5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CA61CC95-E578-4CB7-A8E5-6A809B90D0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6ECDADCD-3282-432E-8617-EDF9A36C6C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A507A5D7-A105-42E9-A6D7-5CA926BB6D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85A38AC6-A148-4680-9C84-149908952D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F44F5080-D5B8-4BBD-9E97-160C4E7E6F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F876294E-65DB-4C87-8136-63C7A1FCDD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B388AEA6-99E5-4B30-8D0C-FB2900913A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9A44DF7C-E131-485D-813F-7FCCAEE7A9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BBE3C71C-9D9C-4E9A-898E-6B7DE99D2C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6CCCD0B9-A21F-460E-AF51-54713E3F93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72D46BED-2887-4DD7-A1B2-C9B53E5DDE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7C4034B5-00D4-4A97-AAB3-E34E069133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F630E8A-AA00-432B-B184-EC25FDF30B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32EBC48-A80B-47B0-855D-BC94D385C1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5983362-0F98-4172-B677-DEFE0A1EF2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1961FBC-CBCD-4F7E-BF68-800EC35E0D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F011A07-F5FE-44B3-B56C-EF69E9C3D3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3D759A9-B202-43EC-AFA6-E5206DCFC6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5164A7B-D5ED-4B85-9835-8DE9128EB0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22B8712-1FC3-4553-8E20-DBF956F9FE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E8B64C44-F4CF-4D55-9088-1738BC37E5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C7425EEB-A8C5-4696-8034-3474737C0D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5D0C3456-DE15-4854-9793-AFD27FED35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43D2FE35-18EA-4271-95A8-47C295E0F4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0317836F-F2B9-4B98-9C15-0FDBAF4D3E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0905ADA6-C878-4A87-9342-BF8997EEBE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1C7F084F-ACF7-4BB7-96E2-D61D44E6DF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6E5E429A-1101-40DD-9783-1E17019B51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3DBB4A65-5DC9-4DFB-A4A6-F69684509C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5E6205A0-9C0C-4BBE-820C-24DE55A1E2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DAC236BA-51AB-4925-ACE0-116DDAF9BD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7A5110BE-310B-4026-9F7E-919CC15407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6481BB03-368B-439A-9207-9CC6F2E821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FC883312-9B4C-4D1A-AC92-E78F3D78C6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D2DCE673-B82A-4C4D-89EC-352BE7AB9F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683CD15D-3735-4680-A8B6-BD7F443C71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2920A96-4817-4B36-BA2F-EC8EF96007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33CD7E1-9AC5-4C27-B41A-0CCFF83635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4606A97-10D9-4C35-8EE5-D2C8F9BB1F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6B6E035-1B2E-4591-ABBD-F6E6AEB73D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CE2963D-3ADE-4C94-92E1-E35E003A4D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832D490-7877-47A6-A10C-FCCCDB762A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3FA1816-3442-4840-8898-B1B1889A29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D727C9F-8C51-4B4D-A88E-08B1781D2F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AE2A9BFD-E6CC-4E47-94F3-A090055115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B76C313C-77C4-435C-A51A-4191463257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240130F7-FBE9-444C-AB01-58D11A2D95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425972D5-1547-4638-B14B-38CD5BAFFA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ACB8E684-398B-4D6C-B11C-53CAB17B24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73BD8AE7-BF8F-4F9B-818B-C6794B8189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8AF781C8-B74C-4B7B-A488-717FED49D4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2274D636-874D-41D2-B872-3B0DDC6BD2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E5AA34C5-DB34-4AB5-940D-884EA75F16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E67E2894-3DBB-46DF-B722-54144E1071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AFBE8123-6B62-4EBB-9370-DF9C7588BF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796B9509-C03D-4FA8-B65A-E9FA42F797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A08437EC-B35D-44E7-BD28-F15E9FD801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3B3133F2-AC36-469C-9AF5-91AE6CCBC8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0BE037C4-946B-4BDF-822C-D9E66FD6E2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E12BD904-33D4-45D2-AA10-ED7507EF95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C47306E-A8F8-41A6-9A41-5E80573ACB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A08430C-2193-4B48-9BDA-F7425DE7A9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C9EC7DD-502C-46CB-B614-9514027C60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B6A1E98-D1DC-4F58-B6CF-1692E96D6B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E4DFBF2-20D7-46F0-8ECC-15CED8A0D2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CC20276-4E5F-4B9D-8C25-BB0E42FF9F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71A90F5-432E-4DFA-9C82-D6BBF46E1D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3FB02B2-3050-49D6-92B2-EDE91ADDE1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5F520EEE-E262-4FD3-8472-A7BE514E2A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6C1323B8-B0FF-4776-BEEF-BE3E8F7164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3F699989-CF79-4BB7-8A54-BF54B5A096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3894E5CC-F38C-4297-98B1-55A3E5BBB8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828806BE-421A-4F6B-B882-860424BAE2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B55C9874-AA34-430B-8DE8-3BD6D3EAC4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AE8B9E92-5A61-4886-8B08-FFE73E43EF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F4DA7B32-C6A3-421A-BD1C-729A0A4F4D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E153A2E-7839-42E5-9FA5-AC56899A5D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A3D91B5-7DDC-4B78-84D7-FD6B3EC57C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66EF866-5BFF-4736-83A0-C0F2C4E390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BFFE5E8-48B1-4B6C-B6E8-5BD0B65844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B41A514-C071-469E-BB9E-B2EA752DEB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A53E2B2-6198-4FA2-833B-C89205D658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128AB2D-B846-42A5-9BB5-AA1CB7E5F2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C8CCD95-9A39-48BA-90B2-5E4BD27CFB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D5F4B4A4-4D4C-4DC0-AB19-8109661DF2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5E62F941-9A32-4742-AB49-C767D50995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BDC1CCDA-6692-4189-BFB0-8AF748A56F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D84D4D22-8E33-4FB1-9631-6CEF36887D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1F632B8F-7EC0-4DB0-B988-85D559332E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13E82A6E-0B7A-4077-9A7F-A367451162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5556598D-5237-4576-8256-ED52D2CC0B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7F7D8BC0-1BAF-49A2-800F-A401A7D650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75F12B8-06BF-4B77-81C4-75BD2C0157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D23ACB7-2480-43F2-9126-E6272778FE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E7D22E0-AA4C-4098-9F48-39D5BD4EEF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AC68029-2039-4ECB-9C77-0A51E1FBD5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4CEDF4A-D1AE-4180-A4C9-4AC941DE4D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91AE67C-7FF4-4819-B59F-88D99DBA63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79E3086-43DC-432F-93C9-237848AE41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B186003-5589-4FF9-A907-074B979D0C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A601C38-D1DD-419E-8A10-A01ACB3728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61B6D2C-1194-42D2-B85D-07B8A9A275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C9AAAF7-A639-4699-81BE-928F6371BC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BE43013-DB25-45D5-9AB9-C0CFA55763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E456413-4EAB-4E2B-A640-9EF9E19290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64553FB-ED40-472C-883F-BB6C296CA8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FC0464E-C4E6-4C84-922D-94404F9843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FFD2242-45C8-49A3-85BC-31C68E8AB5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2452EA6-35EA-4B04-A3F2-2B8CE82057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A219E1F-7087-4190-B703-E4BDCE0092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0B0E6EA-1084-4B6E-9761-3E05015858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23EB748-9E20-4BF4-8F65-1C872734EF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BB7A999-CF66-4FDD-8B4A-05DA070109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D811945-67CB-4F14-A47B-491692196C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670102B-2755-4235-A476-FDC8729B38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34E7EF0-8A0D-4794-BD03-8E22D855C9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622568C-AC5A-4ED4-9ABC-ACBF2D91EE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30A1264-D8DF-4DF1-B31C-968412AB8D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31776FF-F2C1-4D77-9229-CCE9384A6B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E00A1A4-2D2C-4660-AAD6-552B47B222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2933B24-392C-4034-9553-CE3E9BDA92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B619122-5BEE-4B94-B3CA-8A3137B118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724C4C2-9C67-4EBC-A03F-406D4735E1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5435280-9D66-4A31-9791-6C4D548CF3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156D964-D58A-462E-8944-29709BFD0F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4A89CC3-384C-4802-9D96-728F23EEAB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CC66F18-C4A1-40E9-97F4-2DB0FDDBDB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C12EACB-F5E9-45EC-9016-5DB29E758A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8867B6A-D3A0-4CB2-B4F8-1A8F5EAFCC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1EC212B-543D-4004-A563-13E5A56368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29C9065-F32C-4E7E-A2F1-E5BFF73D7C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1FA3671-CAC3-4B62-9A81-8401192A7C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04E69DF-A497-4053-BA73-27B29EDFEF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0B63373-2727-445F-A3DA-B4746EDA13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C77A172-CCD1-478A-AD50-89112F4443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634CFF9-DC47-472C-A54F-0DF8A265C5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DB54F60-E48B-480A-AE9C-941AE6909A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4E5CF20-BDAD-4BBB-A2E7-AA5E2E40E1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188A83E-F911-4116-9819-16F9BC4EFC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969AAE5-A6C3-4FBE-BD9B-D67EADB35A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D114742-2A6C-4610-8966-1A29CAAB60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29EC318-EE37-4D88-8182-99BBC62AC2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2CC2CB9-9943-4F10-8FD6-F7DEE14CCB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AA0F34B-BEEC-420C-8FF7-B82E19CF92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E1FB8D6-8CC8-4E5F-A253-2032612097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329CADA-E7B2-4021-8C4C-DE3544D5F5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4743765-9160-4E8F-BA6A-914007F46F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7C54145-A2EC-44A0-9AE8-BEFAE024A8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FC1B6BF-3BE5-4F88-A39F-5B619BC14C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39D2AC1-C6B2-41C4-A132-5FAB288018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2C3A07C-A731-4520-9D6C-0D2340B779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3721493-A1D6-4E3E-90B9-3A8EEE4A4E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AE1AAF7-6508-45A7-84A4-BB21E5626C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7384B3D-3517-4050-B2FA-A95A62C801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74E997A-D61C-458B-A3C5-A552B22B54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470618B-7DAA-49BB-B88F-4ADF5325A2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F892675-64F9-4B24-8EBD-CF5DE400CA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E1FAFD2-0354-4CE1-BE1D-1E280489D7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26354EB-223F-4E39-A572-6EAA3A07D5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A8A3968-2DAF-4E3E-970F-346A6DADFD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F83095A-8311-4A89-8DEF-A3A85C6855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95464F1-4D54-437D-ADEF-F27B4BDE40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07F8DEA-C640-4566-8099-1A0B34EE7E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3D74941-F7A6-4E5B-AC1E-03CF22289A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49F7CAF-53A7-4585-8A79-BECBAC688D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15D0AC7-8A11-496B-8FCE-6687E747B9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ABF7354-3BBA-4857-8042-3164BCC265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21A2F1D-683C-4C85-8380-30094CEC24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A379C57-9D3B-410C-9EC6-03CF5AB95A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B1913BD-9A7F-40A6-82D7-4676225844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1CD1B7C-21D1-4551-9A17-E49403C8E0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FC5DCDF-1C0A-49DF-B6D2-0F543689F4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E613F9A-D460-4302-84D5-E7D5DDCC3C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407B1D0-C41E-41E4-9BD7-5876DB8A66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A855C5C-016F-413F-B82A-BC6F27B92D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FEF7C92-8332-458A-997D-703244332F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5D6DC08-1A8F-4B22-8EA0-EBC986EEF4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0FD9D03-45E0-4E9D-A51C-297BE21FE9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92F4E84-F9C8-4035-85B6-2DD13598AB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D664AD6-9484-4CE9-99EF-99E327847C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CE7354C-64D3-4552-940C-A8FCFEC506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75DC3D4-7821-486B-89FE-B11EBC3C48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E25D76F-5F38-46C0-B575-DD19A89D63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484A554-CFE7-44E6-BCA6-D6E1ED9DD4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9AE9BBE-8ED5-4B89-96E0-ED807F6083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105018D-E967-4AAD-BDA1-7AB7F2EBED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0CF7039-F354-480F-BC00-5E61615D70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FEFF824-7201-4DED-9D17-C5EBD969E8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2D9A6F5-EA5C-41BA-9125-573B3C78A0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1EDC5DF-B34E-43F6-8516-0B061B42B4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8C2D4B2-4FFC-481F-B7EC-596BA7E485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56775ED-F99C-445E-8A0E-CE9A519A09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E2B38E5-94DD-4ADC-9E3D-23464EE4BD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9B97299-BB56-406B-95C9-29732FEC02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80BECEB-05B5-4CB4-850F-757564AA36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C427CD2-5517-4CFD-9E72-CC1C5630A3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5D3E42E-F4B9-44A2-9AD0-706D9DF7CC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ED2016D-DFAE-43EF-9962-040EF916B0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2E97E40-5502-4E9A-9359-B120EEF625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AD997F3-BD97-4072-AA1C-BCB4A84F66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EEFB512-5B98-4D87-B1D0-0372D5D795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FE47D7F-E706-4E7B-8DB6-5C10988533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5A20918-4F70-4BFF-8FBB-3DCED2A48C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DCF8923-ACCA-47C7-B28C-D8241F0D04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D84C775-AD6A-4B78-99C8-4CD47CA0B9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27E691C-43C4-425E-BDCF-BF9FD0C642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33176F5-4474-4A89-B755-46846266F8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596B32B-2C45-49B6-A06D-19022801E8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0CA48C1-7248-4766-AA9B-7CB450AC4D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B171B96-6FDA-4DEE-ACB2-43BC6916AE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261EBFF-929A-4AD3-943D-8C895E2E86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6015A5D-1491-456B-AB4F-E496D35448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5F6F649-C28F-46B8-9EA0-8FE163A069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9E58D41-17CF-4E97-96C5-87C1A71A07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29083C5-BBBA-4F90-A188-6960D8EFA7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4CBE857-FC13-4F20-92E1-35031473E4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BE42A16-D353-4E40-9627-BB5D49E8F2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4081537-8E82-4B3F-8AFF-43BA4FE4B4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FDDA995-F726-43B2-A4A4-61C4C9803B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A8EE6B2-2AFF-42AF-8579-E23686B7CA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9500C39-C9E9-43DA-8924-9142B8D99D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4A9D09F-7F3B-4570-B34A-A2BC7A273D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04160F2-46FB-40BC-B370-AB37F5A947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6411A29-1A12-4161-8F02-86B7B1A74A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6193472-326B-431C-A609-97AA70DB93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DA4E3B7-67CB-4BAD-B32F-5E5B80920C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35DD014-7B8E-4F88-9B0C-BD52C4AE06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E42E507-31BF-40D7-B056-4973D4A5E2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AB3E517-DCEE-4828-B1B2-DB9DDE36B8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29303CC-7402-448B-B96E-92A3DB95C5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CBB2F66-8F18-47AE-A2A6-221D07A849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37A3D99-CDEA-4005-9C18-EBC155F603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6B4A5A3-332E-47CA-BDB8-E0D8E05A93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0B53F38-8C06-45EC-920E-6354C8F27F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4D5D2FA-22BF-4D4D-96D4-B747076831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625C977-FB1B-4092-BF08-B57B119192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14457B5-E271-4633-BD2E-20AFF4312F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3FB5047-3C83-4FE5-8759-FD0B726C1F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1FE183C-4BD0-4162-8B74-27543D8561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A19FEAC-8F71-48E2-9579-3A4192C029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19723ED-2F14-4C70-ADD9-738252195E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D7425A5-A7B6-493F-AF0A-DFA69F9141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2F475BA-DF82-4C74-A930-28AAFB4A84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AF9913A-4612-48D6-8042-4E093EA8C0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35F57B7-BB80-422E-BF1C-9168720B0F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67454AE-5EC0-43FE-B647-8EAC623EBF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2E0AA53-A0FE-4905-8F26-DD4EB77649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D56E6C4-8782-4857-A488-B578ED184E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D12B08F-F97F-4CBD-9637-523D9552F3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D34CD75-05ED-46FE-A192-4BF7EC861B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D0B782B-73C9-40C1-BBF0-8B2F69A037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2B6BEA9-8839-40A5-B9AF-24928254FD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FB4837D-9DBF-4969-B23F-D61ECF5469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9AF2C74-8038-40AA-9A1D-C7C07FEF74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1AB4C78-87BB-4D2E-8AF7-D2587FC574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52EE47E-1169-42C4-9609-455BEB5C24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DEE3C7E-A984-4E55-A38D-0D901DCB1D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57B510F-2085-4683-B07E-7DE9481F77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2BBBD92-7BE5-466B-BD37-C4F6326808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FA966B3-5C5B-494F-81F3-162F1252D4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75C31E4-0734-4092-902B-94EAF34A4A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A45D565-D847-4415-9249-A37292C959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A811366-2BFD-4F0B-B438-9CE1B55E45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9EA7707-D8ED-4029-930B-82D2554F7D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3E7B808-F56A-4A3C-97F1-8A9E20DF21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2B59B21-9025-424E-8D09-83587BFFCD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350B036-C7C2-466E-90D1-4214BB28D1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B5C5B3F-B544-42BC-AC6C-E64B893517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138100E-2D79-4AB1-BBF5-D009E96227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6E13482-70B1-4C60-92FE-46E95E52B5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47C0AF6-955A-4594-95D4-23D47E1A00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6E22194-DF95-4625-BB79-2E192DE3A7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1B92E1E-C3AB-4899-9745-E29A353FBC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9EF8E38-1C30-4444-BB68-14E8971115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088EB49-A4E5-4E50-9572-0EAB442CFE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A50AE63-163E-42A7-BCC9-EBB31C73DB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CC04BF9-A090-4B89-964F-556BD08E28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919428C-CFB3-41AD-9BF1-06645A68B8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1FCE3AB-59E3-414E-BE80-C78B84B36F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752FA14-7399-44E9-B30B-70290B5671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198C346-1D55-43A0-A9B3-57C58CB042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5B141DB-4708-4CC3-98A1-78DA965E7F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391FF22-AA3E-4B98-8C12-2562467A87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FDDED04-1FE6-4848-809A-C2BC78AE0C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149A866-4DA4-4CBF-A9F2-31BA8F1921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F4DED46-2735-4171-B8A4-3CD8485EC9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63F3A39-3A89-4575-8708-5503AF0CE0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4B3E86E-B5CB-4F7C-BF79-A6EB2B4844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FB9A2D9-2AA7-46B3-A631-E742FFD766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4BE23BB-C913-40C0-8EB9-C011033428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4178891-CBBD-43FE-9B94-992EE4171E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7D33FC2-8ED0-479B-BE1C-011A74BF2E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86BA7AB-D178-4262-AA37-9B7E302C2D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6459EB4-4156-4212-90F9-787194CFEB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04F70EE-17FC-473B-BB52-1563B941E3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994677B-BDDE-432F-9951-00F0DB36F5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0081C2E-57CA-418C-9144-BDFD460A90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79C4AEC-01E5-4339-A036-E748559C58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1FA7BB5-1A42-451A-9E33-FEDF41B3B8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5ADBDB6-AF75-4223-A41F-7F6DF3F295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38FC059-C988-427D-9F71-2FE736267B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4D377AB-03B7-4CB7-B65A-B389D029E9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3D1167E-7713-47B3-9532-832FEBB801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0123CD6-445E-485E-A3DB-982A3A113A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B7FEC5D-C40C-4507-94EE-2CF6124B30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55649D6-BC3D-455E-AB26-DF5CF60F84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044DC55-8AE8-4422-A1C5-01AF388EC7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1838AA9-E421-421E-BA51-444779BA11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910B197-5535-436E-B731-9E27DC2246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0A9AB3C-41AB-473D-98EB-CACEDAF18E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C0959DF-82DF-40F4-A8F4-6CEE6F3E8C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32BD1AC-143B-4CFC-845D-C228B509B6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AC69AB3-77C5-4FA2-AE8B-E9E0A35180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A9ABC7B-1278-48EB-90E6-D16DBC65A1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C35C70F-827A-45C5-A5E5-F6D7FE5D1C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1022576-C338-49AE-8191-F45A5F1063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859AE54-1116-4719-B0FB-F5E78416F6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29140FD-2371-4430-9C2F-5FD702F3A8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ABC1294-2E80-4F86-A20B-E245933885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23507A7-6177-4392-AA22-99A5238AB0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291DA23-2417-45DA-8B52-AD7AFE357E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5F850E8-3CE1-48A6-84A7-B0BDAAB80B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8007C88-3D24-4753-853E-83922724A7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6DD4816-03DE-44C7-86B6-A964071573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8B6EDE4-5C58-4555-9AA8-722D6B7845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65C11D0-65E9-4152-AA75-ACBF6B1E5E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B6448E3-2CCD-4505-A949-3BD42492B7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0E817B9-B6C0-465D-9662-0EDDA60129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8643A4E-90EB-4564-B71A-74B883189F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4DEB313-7E9C-4C8F-848F-A01515392C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79F317C-83F3-4E36-8908-5698883CF6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38AC7A4-F898-4B9A-AEB9-DC29C4AA04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2AD3346-EA28-4CF3-9DCA-BC2BCC8660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4AE7D48-7D91-41BB-86D8-B95C2C6370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5EF9ADF-0F66-4C3F-A8B7-3A26AA7C61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FD6D543-68FE-4FC9-AE15-203D4F2127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B34B453-391D-49F8-81BB-D0B563FC7A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E9A1873-59B2-467D-84AE-C070567D81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B99D1F3-9B07-4586-891F-A861DF6357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F1642D1-F806-413B-8F1E-AD5ACB7B8F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5C4D72D0-6653-4FEA-B2D8-55CA3BC308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4319727C-9E89-4941-9418-ABEB747F03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A9397843-6AE6-46D3-BABA-38FD51E563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88FB9CCD-3F32-414C-B7A5-A3A1099848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256D7ECC-569D-4344-B566-DF3D3BF553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F694C0B3-1CEF-4143-90E9-00D631434F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05E70004-D664-4E56-8914-507FD1E5A0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23484B62-CFAD-4907-BE2E-38417AEC85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3E4BBA6-C7EF-415D-8039-5400EEEE3E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5D81556-FD42-4485-AF8E-99777228DB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A3D5631-45C1-4CCC-9DE6-FE36EAD674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C72EBDB-35D5-4159-BBBB-20D9238758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5D8FC6E-9855-4479-828A-E8B28D1D76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FD29C79-E7E9-43F7-BBF0-EDABC66264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5A543E2-83AC-4F66-A686-63D73619E0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0E227BF-9B3A-43B7-A498-C67E3FE24A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6D80E11-5F63-44CC-A681-9BD989B15C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B814DAB-B6C8-4FF6-BFFA-A6A9CDC6F5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88A3ACD-1B8B-44CB-9263-397E7A317F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5AF0957-F55B-45AD-BFB2-83F6672D57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9CD6F97-6A8E-476F-8007-17EA3282EA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9C0875F-1C9F-419C-ADFA-AA93E660EF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35F955B-58C5-41C3-AA33-2D2C4E6EB8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E789CCD-9AF0-46D0-85ED-51E949F0C6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F77DF33-724E-4D8A-92EB-54EB712703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6438333-852E-4B58-AD0D-56BB825BD9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55DDB11-48CF-4E27-8E51-591366943A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287E410-D98E-4F1B-BF63-0A37B7C33A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05256C0-0296-46EC-B376-51115F480D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158B5BE-58A2-4281-9287-BA1ECDD63C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D2DF2BD-D160-4A76-9AC6-09DC00DD07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C57EFB0-131C-4BBE-8830-3087FCEC70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14F56DB-7C12-4647-BAD8-AD941BFB66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C442618-94E5-4B36-BB4B-1A07FDB1A7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CBE3289-BB9F-4DC9-B18A-14DE97FD34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0419EFA-3D99-4363-96D3-25D214DFFA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9ED4E8B-E1EF-4138-B6C2-2165748212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21E8AD5-D735-4806-94DA-1BB7AD904A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2B85E5D-0CFA-4B87-9D99-D7A7FAECA3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94B8225-FF0A-4518-9FF4-68657C6621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E13112D-7F93-43FE-808F-17C8EF60BE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21F6686-120A-4975-B476-4EBE160738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5BE2C5D-9514-4EA3-A7E5-3486906F43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13FD6F5-6085-4163-BED9-76B2A958CC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9CB3F02-FFC1-4C81-A292-E33002CDFE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DDE6D88-F8D7-4C92-85E1-568BC59133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F4A8E9A-600E-4897-AF4F-D3D8F2731B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84F549A-190F-45E8-95FF-9EAD8CE87C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9BD530E-C225-4110-984F-A4009651B4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2322F4C-0605-4F5F-864F-315E2F5749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EE92C11-6719-421C-BFAB-E9EA7B012A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2469728-377F-47D2-8B59-EF19DBEBC5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3418A73-B737-447B-91E2-E5F5E6B099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2321752-4DC0-4422-BBEC-6750959F33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8623A33-8056-4690-9304-2CF06A5ED7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32E808B-8260-4177-A0C1-86F92F4E50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96ADCF6-72C4-42FC-ACD3-3838EDAA2E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2B6C93B-3BAB-46D3-AE20-E003A76F02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E7FDBB0-4596-41C0-B86A-524A9B01F4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F187509-FF88-4605-9DCC-D2BFFD8C9A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941750E-8B2B-4FB1-95CC-F3BA56633D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5B2BF4C-F1C8-4065-8701-BFDCB22A83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477B5E3-9231-4813-B273-8ECC29854D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610F414-A778-474C-B64B-0B8C76E966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CB5CC55-AE37-40A9-A1BE-058FBC1505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4DC0207-0239-4DFE-8738-4C71A66F54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BE9D7AD-5534-42A0-ADAD-0EED54BC39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32D2A81-FE09-4925-9F8F-5F2716B2F0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6B29F66-D76A-445A-8142-387E6BA68A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E123C00-FDFB-41D4-B97C-883BCC2035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BAF0A30-4678-4FBE-A66A-59FCB1DAAB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61EA093-E62B-4D27-AFE9-E111B59C4D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032ACEA-13DC-4C95-8E38-66EEEB2803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F6EDAFC-1B74-4961-A728-C5E46FF59B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3260BE7-3CD7-401F-997F-6E0123D284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CA9264F-F41D-4D50-9502-0663A43990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64B42DF-0679-42D5-8972-5950495090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355A68E-BF0E-4516-92F5-B63365E931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C83F439-0B56-49DE-821B-1C50E6D25E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47105A7-C9CB-4350-8C09-83B119A8D2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A06D3F8-5801-4B86-9E59-D86E030BA1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DACADC6-D1DF-42E9-A062-2B4C16946F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E74A6E3-DBBE-4529-BB33-5C4E8E752D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8F8E033-2DF7-466A-A4BA-2B53DE5E06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8C603BE-9916-4F31-BB06-3B1573C742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207D45F-20AB-4371-AA5B-59085FDC6E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963CBB6-D1D1-4742-B03D-8FF8BFF955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ACAB67C-0E89-4F13-9037-76D51F7C89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E124FEA2-7CFE-42AF-861D-260580C642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51E789C7-6625-4BB1-A7B5-854952E3B3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1FFA0906-EBF5-4BF7-8742-F81BA27579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60630D50-24EC-491F-9627-325457F6DE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F70A80F0-8340-464D-AB31-84B9C9700F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D61E8CCC-002D-4AA5-A7EB-93B1091B86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224A4951-8E20-41BE-AE1D-945A510DE7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3B3AE950-BD9E-4D9E-AA13-F84254C18C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533E90B-7192-4D50-8C05-C7E1AB854B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D412842-3F1A-428D-B7D6-F3DA8D2581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DC2A87E-FCCF-4E43-8D53-DF76AD5BC9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B14E33B-0788-4255-AC34-A1D9FCDC77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BF4DEF3-0A68-4B49-B9B3-1A13C7BEE2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B4AA5EC-C81A-4BAF-8B61-C3AFE0ECD3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3CC059D-0958-4528-88AC-C3BFC45E4F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29D6298-51F2-44D1-8258-69F9E53DFF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129F6BF-BB7B-4FDC-9F7A-A53EAEC40D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9E52B73-F37D-44C8-9386-417E423C9A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01C9D3F-C6FB-4582-AE14-40A6CC256A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CC0F0C3-C46C-4508-AD09-E98C8452EB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912363E-D75A-4CC2-B101-1023ED02B1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BE324AF-F8F3-4163-8270-EFE7EC14BD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04870A1-3334-4871-B4AA-228EB8EFB6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0E59B2A-0DEE-4C50-8E56-77082F6C64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2948EF09-107F-4D3D-900E-7C51723074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5EB47441-A0A5-44AA-8DDE-0C7429A4C8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F70E31D4-16DF-4357-80F0-463D4AABAF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58C4EBFA-648E-4FF4-AF62-4E5188B80B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332AD091-5271-45A5-9683-8E86BC91F7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2877599B-E368-439C-B3D1-DE4084609C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E9FC3703-4291-4E76-884C-14242A5198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CEE92621-026E-44DF-8606-9D8A770537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E1ABFDE-F8B4-46F0-B6FC-1307EDA96F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4D44623-639A-4352-B18F-D7C254853C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061C11C-CFA1-42E5-8913-FFAF11D876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AC22FA2-3B1C-4EE7-9DAB-EAF0354F2E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3CC849F-F27D-4DE4-9E86-724F4308BA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186B06F-DD02-4453-A7BA-0C679781AD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B8EADCC-CB70-4C43-8CD9-4E7E7DB647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7267137-B848-48BE-A62C-BFCA754B63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9/09/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9/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9/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9/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9/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21.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22.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23.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24.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25.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26.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27.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28.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29.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30.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31.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32.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33.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34.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35.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36.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37.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38.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39.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40.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41.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42.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43.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44.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45.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46.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47.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48.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49.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50.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chart" Target="../charts/chart51.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chart" Target="../charts/chart52.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chart" Target="../charts/chart53.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chart" Target="../charts/chart54.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chart" Target="../charts/chart55.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chart" Target="../charts/chart56.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chart" Target="../charts/chart57.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chart" Target="../charts/chart58.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xml"/><Relationship Id="rId5" Type="http://schemas.openxmlformats.org/officeDocument/2006/relationships/chart" Target="../charts/chart59.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xml"/><Relationship Id="rId5" Type="http://schemas.openxmlformats.org/officeDocument/2006/relationships/chart" Target="../charts/chart60.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7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7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7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8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8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8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8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8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8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8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0.xml"/><Relationship Id="rId5" Type="http://schemas.openxmlformats.org/officeDocument/2006/relationships/chart" Target="../charts/chart9.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8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8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6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6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6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6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6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chart" Target="../charts/chart6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chart" Target="../charts/chart6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chart" Target="../charts/chart6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3.xml"/><Relationship Id="rId5" Type="http://schemas.openxmlformats.org/officeDocument/2006/relationships/chart" Target="../charts/chart12.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chart" Target="../charts/chart6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chart" Target="../charts/chart7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chart" Target="../charts/chart7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chart" Target="../charts/chart7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chart" Target="../charts/chart7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chart" Target="../charts/chart7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chart" Target="../charts/chart7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chart" Target="../charts/chart7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chart" Target="../charts/chart7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106.xml"/><Relationship Id="rId6" Type="http://schemas.openxmlformats.org/officeDocument/2006/relationships/chart" Target="../charts/chart7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107.xml"/><Relationship Id="rId6" Type="http://schemas.openxmlformats.org/officeDocument/2006/relationships/chart" Target="../charts/chart7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chart" Target="../charts/chart8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109.xml"/><Relationship Id="rId6" Type="http://schemas.openxmlformats.org/officeDocument/2006/relationships/chart" Target="../charts/chart8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110.xml"/><Relationship Id="rId6" Type="http://schemas.openxmlformats.org/officeDocument/2006/relationships/chart" Target="../charts/chart8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111.xml"/><Relationship Id="rId6" Type="http://schemas.openxmlformats.org/officeDocument/2006/relationships/chart" Target="../charts/chart8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112.xml"/><Relationship Id="rId6" Type="http://schemas.openxmlformats.org/officeDocument/2006/relationships/chart" Target="../charts/chart8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113.xml"/><Relationship Id="rId6" Type="http://schemas.openxmlformats.org/officeDocument/2006/relationships/chart" Target="../charts/chart8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114.xml"/><Relationship Id="rId6" Type="http://schemas.openxmlformats.org/officeDocument/2006/relationships/chart" Target="../charts/chart8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115.xml"/><Relationship Id="rId6" Type="http://schemas.openxmlformats.org/officeDocument/2006/relationships/chart" Target="../charts/chart8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7.xml"/><Relationship Id="rId1" Type="http://schemas.openxmlformats.org/officeDocument/2006/relationships/tags" Target="../tags/tag116.xml"/><Relationship Id="rId6" Type="http://schemas.openxmlformats.org/officeDocument/2006/relationships/chart" Target="../charts/chart8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19.xml"/><Relationship Id="rId5" Type="http://schemas.openxmlformats.org/officeDocument/2006/relationships/chart" Target="../charts/chart18.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xml"/><Relationship Id="rId1" Type="http://schemas.openxmlformats.org/officeDocument/2006/relationships/tags" Target="../tags/tag117.xml"/><Relationship Id="rId6" Type="http://schemas.openxmlformats.org/officeDocument/2006/relationships/chart" Target="../charts/chart8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7.xml"/><Relationship Id="rId1" Type="http://schemas.openxmlformats.org/officeDocument/2006/relationships/tags" Target="../tags/tag118.xml"/><Relationship Id="rId6" Type="http://schemas.openxmlformats.org/officeDocument/2006/relationships/chart" Target="../charts/chart90.xml"/><Relationship Id="rId5" Type="http://schemas.openxmlformats.org/officeDocument/2006/relationships/image" Target="../media/image29.emf"/><Relationship Id="rId4" Type="http://schemas.openxmlformats.org/officeDocument/2006/relationships/oleObject" Target="../embeddings/oleObject2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000452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2888539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336633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799175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459308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264616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845376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994710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883331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419470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403937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3939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000452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9694068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348868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893965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342257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2786303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4931371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5080503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9929225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100458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814677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410784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000452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48167794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2290462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7304566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692746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0092151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2003406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1898523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7987548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7962526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5289012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633524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81767354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7133980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0912983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6274237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7969142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4405605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4595324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0513267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5798126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3584753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215879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821A1-2F42-C18A-3A14-0530E70D8A18}"/>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C475BB2-0528-29FB-C158-9EF2E6156FB0}"/>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A6C569F5-3F88-086F-5B00-1E8A66D0F786}"/>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50C62E0-50F3-8C98-8A6C-00F3BBB96302}"/>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9746381B-5429-20C5-0029-A24C957D1C40}"/>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BCD8A60D-9E09-5437-EE3D-2051F5857F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37" name="Text Placeholder 36">
            <a:extLst>
              <a:ext uri="{FF2B5EF4-FFF2-40B4-BE49-F238E27FC236}">
                <a16:creationId xmlns:a16="http://schemas.microsoft.com/office/drawing/2014/main" id="{A4F500DF-07D6-F3F4-D8F8-0A850530D857}"/>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48099170-CF4A-17A7-D8E1-C8D5FA773FD7}"/>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C2E6E30-3D89-617C-9DCF-CEDDBE7FCC0C}"/>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DAAAD5C8-F0B7-3265-8959-069CFDD4A1E7}"/>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DEB88E8D-6B5F-DE01-AAF6-32AD94BA3F03}"/>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24C607CE-76BC-9557-8899-739EB84BB985}"/>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Box 15">
            <a:extLst>
              <a:ext uri="{FF2B5EF4-FFF2-40B4-BE49-F238E27FC236}">
                <a16:creationId xmlns:a16="http://schemas.microsoft.com/office/drawing/2014/main" id="{91EA33FD-D7F4-2B7D-DCF9-187EAC1C77AB}"/>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E4DDF06F-92F0-1389-A3D1-5EC7AC06EDBA}"/>
              </a:ext>
            </a:extLst>
          </p:cNvPr>
          <p:cNvGraphicFramePr>
            <a:graphicFrameLocks noGrp="1"/>
          </p:cNvGraphicFramePr>
          <p:nvPr>
            <p:extLst>
              <p:ext uri="{D42A27DB-BD31-4B8C-83A1-F6EECF244321}">
                <p14:modId xmlns:p14="http://schemas.microsoft.com/office/powerpoint/2010/main" val="2001560134"/>
              </p:ext>
            </p:extLst>
          </p:nvPr>
        </p:nvGraphicFramePr>
        <p:xfrm>
          <a:off x="720534" y="1121410"/>
          <a:ext cx="4056956"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54272288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65630746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55901782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09446375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91785883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96604439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07379434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46237074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67281062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16590010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2488959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94118383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16264381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75177661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997194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356233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3879740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5957795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5016482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1959068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013594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775870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25442606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7091451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6349528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1204392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9865768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6267798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6957133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0130330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5039784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8526658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692035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87355961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0582571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9579440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7329030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9451688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2397961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2324006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9024577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59429170"/>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6962327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956678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86151648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1429389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019330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0</TotalTime>
  <Words>11749</Words>
  <Application>Microsoft Office PowerPoint</Application>
  <PresentationFormat>On-screen Show (16:9)</PresentationFormat>
  <Paragraphs>4209</Paragraphs>
  <Slides>91</Slides>
  <Notes>4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91</vt:i4>
      </vt:variant>
    </vt:vector>
  </HeadingPairs>
  <TitlesOfParts>
    <vt:vector size="101"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Aleaa SALAH</cp:lastModifiedBy>
  <cp:revision>55</cp:revision>
  <dcterms:created xsi:type="dcterms:W3CDTF">2024-07-05T14:56:51Z</dcterms:created>
  <dcterms:modified xsi:type="dcterms:W3CDTF">2025-09-09T09:59: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